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sldIdLst>
    <p:sldId id="256" r:id="rId2"/>
    <p:sldId id="257" r:id="rId3"/>
  </p:sldIdLst>
  <p:sldSz cx="18288000" cy="10287000"/>
  <p:notesSz cx="6858000" cy="9144000"/>
  <p:embeddedFontLst>
    <p:embeddedFont>
      <p:font typeface="Calibri" panose="020F0502020204030204" pitchFamily="34" charset="0"/>
      <p:regular r:id="rId4"/>
      <p:bold r:id="rId5"/>
      <p:italic r:id="rId6"/>
      <p:boldItalic r:id="rId7"/>
    </p:embeddedFont>
    <p:embeddedFont>
      <p:font typeface="Cerebri" panose="020B0604020202020204" charset="0"/>
      <p:regular r:id="rId8"/>
    </p:embeddedFont>
    <p:embeddedFont>
      <p:font typeface="Cerebri Heavy Italics" panose="020B0604020202020204" charset="0"/>
      <p:regular r:id="rId9"/>
    </p:embeddedFont>
  </p:embeddedFontLst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 varScale="1">
        <p:scale>
          <a:sx n="72" d="100"/>
          <a:sy n="72" d="100"/>
        </p:scale>
        <p:origin x="246" y="-16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5.fntdata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font" Target="fonts/font4.fntdata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3.fntdata"/><Relationship Id="rId11" Type="http://schemas.openxmlformats.org/officeDocument/2006/relationships/presProps" Target="presProps.xml"/><Relationship Id="rId5" Type="http://schemas.openxmlformats.org/officeDocument/2006/relationships/font" Target="fonts/font2.fntdata"/><Relationship Id="rId10" Type="http://schemas.openxmlformats.org/officeDocument/2006/relationships/tags" Target="tags/tag1.xml"/><Relationship Id="rId4" Type="http://schemas.openxmlformats.org/officeDocument/2006/relationships/font" Target="fonts/font1.fntdata"/><Relationship Id="rId9" Type="http://schemas.openxmlformats.org/officeDocument/2006/relationships/font" Target="fonts/font6.fntdata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9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9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9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9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2E35B75-2832-6410-15E2-6B88300F840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8973312" y="10165080"/>
            <a:ext cx="369888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3.png"/><Relationship Id="rId7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4.svg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A1B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 noChangeAspect="1"/>
          </p:cNvGrpSpPr>
          <p:nvPr/>
        </p:nvGrpSpPr>
        <p:grpSpPr>
          <a:xfrm>
            <a:off x="4745280" y="-179305"/>
            <a:ext cx="11268302" cy="11390836"/>
            <a:chOff x="0" y="0"/>
            <a:chExt cx="5956300" cy="6021070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5956300" cy="6021070"/>
            </a:xfrm>
            <a:custGeom>
              <a:avLst/>
              <a:gdLst/>
              <a:ahLst/>
              <a:cxnLst/>
              <a:rect l="l" t="t" r="r" b="b"/>
              <a:pathLst>
                <a:path w="5956300" h="6021070">
                  <a:moveTo>
                    <a:pt x="0" y="6021070"/>
                  </a:moveTo>
                  <a:lnTo>
                    <a:pt x="692150" y="0"/>
                  </a:lnTo>
                  <a:lnTo>
                    <a:pt x="5956300" y="0"/>
                  </a:lnTo>
                  <a:lnTo>
                    <a:pt x="5264150" y="6021070"/>
                  </a:lnTo>
                  <a:close/>
                </a:path>
              </a:pathLst>
            </a:custGeom>
            <a:solidFill>
              <a:srgbClr val="FFA500">
                <a:alpha val="49804"/>
              </a:srgbClr>
            </a:solidFill>
            <a:ln w="12700">
              <a:solidFill>
                <a:srgbClr val="000000"/>
              </a:solidFill>
            </a:ln>
          </p:spPr>
        </p:sp>
      </p:grpSp>
      <p:sp>
        <p:nvSpPr>
          <p:cNvPr id="4" name="AutoShape 4"/>
          <p:cNvSpPr/>
          <p:nvPr/>
        </p:nvSpPr>
        <p:spPr>
          <a:xfrm>
            <a:off x="0" y="9210675"/>
            <a:ext cx="4300832" cy="0"/>
          </a:xfrm>
          <a:prstGeom prst="line">
            <a:avLst/>
          </a:prstGeom>
          <a:ln w="38100" cap="flat">
            <a:solidFill>
              <a:srgbClr val="FFA500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5" name="AutoShape 5"/>
          <p:cNvSpPr/>
          <p:nvPr/>
        </p:nvSpPr>
        <p:spPr>
          <a:xfrm flipV="1">
            <a:off x="3248447" y="770428"/>
            <a:ext cx="2361590" cy="15802"/>
          </a:xfrm>
          <a:prstGeom prst="line">
            <a:avLst/>
          </a:prstGeom>
          <a:ln w="38100" cap="flat">
            <a:solidFill>
              <a:srgbClr val="FFA500"/>
            </a:solidFill>
            <a:prstDash val="solid"/>
            <a:headEnd type="none" w="sm" len="sm"/>
            <a:tailEnd type="none" w="sm" len="sm"/>
          </a:ln>
        </p:spPr>
      </p:sp>
      <p:grpSp>
        <p:nvGrpSpPr>
          <p:cNvPr id="6" name="Group 6"/>
          <p:cNvGrpSpPr>
            <a:grpSpLocks noChangeAspect="1"/>
          </p:cNvGrpSpPr>
          <p:nvPr/>
        </p:nvGrpSpPr>
        <p:grpSpPr>
          <a:xfrm>
            <a:off x="5180251" y="0"/>
            <a:ext cx="14281410" cy="14436709"/>
            <a:chOff x="0" y="0"/>
            <a:chExt cx="5956300" cy="6021070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5956300" cy="6021070"/>
            </a:xfrm>
            <a:custGeom>
              <a:avLst/>
              <a:gdLst/>
              <a:ahLst/>
              <a:cxnLst/>
              <a:rect l="l" t="t" r="r" b="b"/>
              <a:pathLst>
                <a:path w="5956300" h="6021070">
                  <a:moveTo>
                    <a:pt x="0" y="6021070"/>
                  </a:moveTo>
                  <a:lnTo>
                    <a:pt x="692150" y="0"/>
                  </a:lnTo>
                  <a:lnTo>
                    <a:pt x="5956300" y="0"/>
                  </a:lnTo>
                  <a:lnTo>
                    <a:pt x="5264150" y="6021070"/>
                  </a:lnTo>
                  <a:close/>
                </a:path>
              </a:pathLst>
            </a:custGeom>
            <a:solidFill>
              <a:srgbClr val="FFA500"/>
            </a:solidFill>
            <a:ln w="12700">
              <a:solidFill>
                <a:srgbClr val="000000"/>
              </a:solidFill>
            </a:ln>
          </p:spPr>
        </p:sp>
      </p:grpSp>
      <p:grpSp>
        <p:nvGrpSpPr>
          <p:cNvPr id="8" name="Group 8"/>
          <p:cNvGrpSpPr>
            <a:grpSpLocks noChangeAspect="1"/>
          </p:cNvGrpSpPr>
          <p:nvPr/>
        </p:nvGrpSpPr>
        <p:grpSpPr>
          <a:xfrm>
            <a:off x="6045008" y="-879928"/>
            <a:ext cx="14461758" cy="14436709"/>
            <a:chOff x="0" y="0"/>
            <a:chExt cx="5956300" cy="602107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5956300" cy="6021070"/>
            </a:xfrm>
            <a:custGeom>
              <a:avLst/>
              <a:gdLst/>
              <a:ahLst/>
              <a:cxnLst/>
              <a:rect l="l" t="t" r="r" b="b"/>
              <a:pathLst>
                <a:path w="5956300" h="6021070">
                  <a:moveTo>
                    <a:pt x="0" y="6021070"/>
                  </a:moveTo>
                  <a:lnTo>
                    <a:pt x="692150" y="0"/>
                  </a:lnTo>
                  <a:lnTo>
                    <a:pt x="5956300" y="0"/>
                  </a:lnTo>
                  <a:lnTo>
                    <a:pt x="5264150" y="6021070"/>
                  </a:lnTo>
                  <a:close/>
                </a:path>
              </a:pathLst>
            </a:custGeom>
            <a:solidFill>
              <a:srgbClr val="1A1B1D"/>
            </a:solidFill>
            <a:ln w="12700">
              <a:solidFill>
                <a:srgbClr val="000000"/>
              </a:solidFill>
            </a:ln>
          </p:spPr>
        </p:sp>
      </p:grpSp>
      <p:grpSp>
        <p:nvGrpSpPr>
          <p:cNvPr id="10" name="Group 10"/>
          <p:cNvGrpSpPr>
            <a:grpSpLocks noChangeAspect="1"/>
          </p:cNvGrpSpPr>
          <p:nvPr/>
        </p:nvGrpSpPr>
        <p:grpSpPr>
          <a:xfrm>
            <a:off x="9373716" y="0"/>
            <a:ext cx="9607585" cy="9712059"/>
            <a:chOff x="0" y="0"/>
            <a:chExt cx="5956300" cy="6021070"/>
          </a:xfrm>
        </p:grpSpPr>
        <p:sp>
          <p:nvSpPr>
            <p:cNvPr id="11" name="Freeform 11"/>
            <p:cNvSpPr/>
            <p:nvPr/>
          </p:nvSpPr>
          <p:spPr>
            <a:xfrm>
              <a:off x="0" y="0"/>
              <a:ext cx="5956300" cy="6021070"/>
            </a:xfrm>
            <a:custGeom>
              <a:avLst/>
              <a:gdLst/>
              <a:ahLst/>
              <a:cxnLst/>
              <a:rect l="l" t="t" r="r" b="b"/>
              <a:pathLst>
                <a:path w="5956300" h="6021070">
                  <a:moveTo>
                    <a:pt x="0" y="6021070"/>
                  </a:moveTo>
                  <a:lnTo>
                    <a:pt x="692150" y="0"/>
                  </a:lnTo>
                  <a:lnTo>
                    <a:pt x="5956300" y="0"/>
                  </a:lnTo>
                  <a:lnTo>
                    <a:pt x="5264150" y="6021070"/>
                  </a:lnTo>
                  <a:close/>
                </a:path>
              </a:pathLst>
            </a:custGeom>
            <a:blipFill>
              <a:blip r:embed="rId2"/>
              <a:stretch>
                <a:fillRect l="-543" r="-543"/>
              </a:stretch>
            </a:blipFill>
          </p:spPr>
        </p:sp>
      </p:grpSp>
      <p:sp>
        <p:nvSpPr>
          <p:cNvPr id="12" name="Freeform 12"/>
          <p:cNvSpPr/>
          <p:nvPr/>
        </p:nvSpPr>
        <p:spPr>
          <a:xfrm>
            <a:off x="0" y="126415"/>
            <a:ext cx="3374340" cy="1055842"/>
          </a:xfrm>
          <a:custGeom>
            <a:avLst/>
            <a:gdLst/>
            <a:ahLst/>
            <a:cxnLst/>
            <a:rect l="l" t="t" r="r" b="b"/>
            <a:pathLst>
              <a:path w="3374340" h="1055842">
                <a:moveTo>
                  <a:pt x="0" y="0"/>
                </a:moveTo>
                <a:lnTo>
                  <a:pt x="3374340" y="0"/>
                </a:lnTo>
                <a:lnTo>
                  <a:pt x="3374340" y="1055842"/>
                </a:lnTo>
                <a:lnTo>
                  <a:pt x="0" y="1055842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</p:sp>
      <p:sp>
        <p:nvSpPr>
          <p:cNvPr id="13" name="TextBox 13"/>
          <p:cNvSpPr txBox="1"/>
          <p:nvPr/>
        </p:nvSpPr>
        <p:spPr>
          <a:xfrm>
            <a:off x="239830" y="3742270"/>
            <a:ext cx="5370334" cy="2247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439"/>
              </a:lnSpc>
            </a:pPr>
            <a:r>
              <a:rPr lang="en-US" sz="3699" dirty="0">
                <a:solidFill>
                  <a:srgbClr val="FFA500"/>
                </a:solidFill>
                <a:latin typeface="Cerebri Heavy Italics"/>
              </a:rPr>
              <a:t>SMART MOBILITY:</a:t>
            </a:r>
          </a:p>
          <a:p>
            <a:pPr>
              <a:lnSpc>
                <a:spcPts val="4439"/>
              </a:lnSpc>
            </a:pPr>
            <a:r>
              <a:rPr lang="en-US" sz="3699" dirty="0">
                <a:solidFill>
                  <a:srgbClr val="FFFFFF"/>
                </a:solidFill>
                <a:latin typeface="Cerebri Heavy Italics"/>
              </a:rPr>
              <a:t>AUTOMATED GUIDED VEHICLE TRAFFIC ANALYSIS</a:t>
            </a:r>
          </a:p>
        </p:txBody>
      </p:sp>
      <p:sp>
        <p:nvSpPr>
          <p:cNvPr id="14" name="Freeform 14"/>
          <p:cNvSpPr/>
          <p:nvPr/>
        </p:nvSpPr>
        <p:spPr>
          <a:xfrm rot="-1918803">
            <a:off x="5746266" y="4703234"/>
            <a:ext cx="8418036" cy="5490236"/>
          </a:xfrm>
          <a:custGeom>
            <a:avLst/>
            <a:gdLst/>
            <a:ahLst/>
            <a:cxnLst/>
            <a:rect l="l" t="t" r="r" b="b"/>
            <a:pathLst>
              <a:path w="8418036" h="5490236">
                <a:moveTo>
                  <a:pt x="0" y="0"/>
                </a:moveTo>
                <a:lnTo>
                  <a:pt x="8418036" y="0"/>
                </a:lnTo>
                <a:lnTo>
                  <a:pt x="8418036" y="5490236"/>
                </a:lnTo>
                <a:lnTo>
                  <a:pt x="0" y="5490236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 t="-2346"/>
            </a:stretch>
          </a:blipFill>
        </p:spPr>
      </p:sp>
      <p:sp>
        <p:nvSpPr>
          <p:cNvPr id="15" name="TextBox 13">
            <a:extLst>
              <a:ext uri="{FF2B5EF4-FFF2-40B4-BE49-F238E27FC236}">
                <a16:creationId xmlns:a16="http://schemas.microsoft.com/office/drawing/2014/main" id="{17D48260-C7A8-DD6B-C2D6-B9A29D110BF4}"/>
              </a:ext>
            </a:extLst>
          </p:cNvPr>
          <p:cNvSpPr txBox="1"/>
          <p:nvPr/>
        </p:nvSpPr>
        <p:spPr>
          <a:xfrm>
            <a:off x="184626" y="9459971"/>
            <a:ext cx="5370334" cy="6155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r>
              <a:rPr lang="ro-RO" sz="2000" dirty="0">
                <a:solidFill>
                  <a:srgbClr val="FFFFFF"/>
                </a:solidFill>
                <a:latin typeface="Cerebri Heavy Italics"/>
              </a:rPr>
              <a:t>Student: Bălteanu Andreea - Iuliana</a:t>
            </a:r>
            <a:endParaRPr lang="ro-RO" sz="2000" dirty="0">
              <a:solidFill>
                <a:srgbClr val="FFA500"/>
              </a:solidFill>
              <a:latin typeface="Cerebri Heavy Italics"/>
            </a:endParaRPr>
          </a:p>
          <a:p>
            <a:r>
              <a:rPr lang="en-US" sz="2000" dirty="0">
                <a:solidFill>
                  <a:srgbClr val="FFA500"/>
                </a:solidFill>
                <a:latin typeface="Cerebri Heavy Italics"/>
              </a:rPr>
              <a:t>Mentor: Biri</a:t>
            </a:r>
            <a:r>
              <a:rPr lang="ro-RO" sz="2000" dirty="0">
                <a:solidFill>
                  <a:srgbClr val="FFA500"/>
                </a:solidFill>
                <a:latin typeface="Cerebri Heavy Italics"/>
              </a:rPr>
              <a:t>ș Cosmin</a:t>
            </a:r>
            <a:endParaRPr lang="en-US" sz="2000" dirty="0">
              <a:solidFill>
                <a:srgbClr val="FFA500"/>
              </a:solidFill>
              <a:latin typeface="Cerebri Heavy Italics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7343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15383087" y="0"/>
            <a:ext cx="972848" cy="1815135"/>
            <a:chOff x="0" y="0"/>
            <a:chExt cx="726053" cy="1354667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726053" cy="1354667"/>
            </a:xfrm>
            <a:custGeom>
              <a:avLst/>
              <a:gdLst/>
              <a:ahLst/>
              <a:cxnLst/>
              <a:rect l="l" t="t" r="r" b="b"/>
              <a:pathLst>
                <a:path w="726053" h="1354667">
                  <a:moveTo>
                    <a:pt x="203200" y="0"/>
                  </a:moveTo>
                  <a:lnTo>
                    <a:pt x="726053" y="0"/>
                  </a:lnTo>
                  <a:lnTo>
                    <a:pt x="522853" y="1354667"/>
                  </a:lnTo>
                  <a:lnTo>
                    <a:pt x="0" y="1354667"/>
                  </a:lnTo>
                  <a:lnTo>
                    <a:pt x="203200" y="0"/>
                  </a:lnTo>
                  <a:close/>
                </a:path>
              </a:pathLst>
            </a:custGeom>
            <a:solidFill>
              <a:srgbClr val="FFA500">
                <a:alpha val="49804"/>
              </a:srgbClr>
            </a:solidFill>
          </p:spPr>
        </p:sp>
        <p:sp>
          <p:nvSpPr>
            <p:cNvPr id="4" name="TextBox 4"/>
            <p:cNvSpPr txBox="1"/>
            <p:nvPr/>
          </p:nvSpPr>
          <p:spPr>
            <a:xfrm>
              <a:off x="101600" y="9525"/>
              <a:ext cx="609600" cy="60007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79"/>
                </a:lnSpc>
              </a:pPr>
              <a:endParaRPr/>
            </a:p>
          </p:txBody>
        </p:sp>
      </p:grpSp>
      <p:grpSp>
        <p:nvGrpSpPr>
          <p:cNvPr id="5" name="Group 5"/>
          <p:cNvGrpSpPr/>
          <p:nvPr/>
        </p:nvGrpSpPr>
        <p:grpSpPr>
          <a:xfrm>
            <a:off x="15869511" y="0"/>
            <a:ext cx="1389789" cy="1815135"/>
            <a:chOff x="0" y="0"/>
            <a:chExt cx="1037223" cy="1354667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1037223" cy="1354667"/>
            </a:xfrm>
            <a:custGeom>
              <a:avLst/>
              <a:gdLst/>
              <a:ahLst/>
              <a:cxnLst/>
              <a:rect l="l" t="t" r="r" b="b"/>
              <a:pathLst>
                <a:path w="1037223" h="1354667">
                  <a:moveTo>
                    <a:pt x="203200" y="0"/>
                  </a:moveTo>
                  <a:lnTo>
                    <a:pt x="1037223" y="0"/>
                  </a:lnTo>
                  <a:lnTo>
                    <a:pt x="834023" y="1354667"/>
                  </a:lnTo>
                  <a:lnTo>
                    <a:pt x="0" y="1354667"/>
                  </a:lnTo>
                  <a:lnTo>
                    <a:pt x="203200" y="0"/>
                  </a:lnTo>
                  <a:close/>
                </a:path>
              </a:pathLst>
            </a:custGeom>
            <a:solidFill>
              <a:srgbClr val="FFA500"/>
            </a:solidFill>
          </p:spPr>
        </p:sp>
        <p:sp>
          <p:nvSpPr>
            <p:cNvPr id="7" name="TextBox 7"/>
            <p:cNvSpPr txBox="1"/>
            <p:nvPr/>
          </p:nvSpPr>
          <p:spPr>
            <a:xfrm>
              <a:off x="101600" y="9525"/>
              <a:ext cx="609600" cy="60007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79"/>
                </a:lnSpc>
              </a:pPr>
              <a:endParaRPr/>
            </a:p>
          </p:txBody>
        </p:sp>
      </p:grpSp>
      <p:sp>
        <p:nvSpPr>
          <p:cNvPr id="8" name="AutoShape 8"/>
          <p:cNvSpPr/>
          <p:nvPr/>
        </p:nvSpPr>
        <p:spPr>
          <a:xfrm>
            <a:off x="9144000" y="1028700"/>
            <a:ext cx="3877603" cy="0"/>
          </a:xfrm>
          <a:prstGeom prst="line">
            <a:avLst/>
          </a:prstGeom>
          <a:ln w="38100" cap="flat">
            <a:solidFill>
              <a:srgbClr val="FFA500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9" name="AutoShape 9"/>
          <p:cNvSpPr/>
          <p:nvPr/>
        </p:nvSpPr>
        <p:spPr>
          <a:xfrm>
            <a:off x="-130607" y="8196324"/>
            <a:ext cx="3048833" cy="0"/>
          </a:xfrm>
          <a:prstGeom prst="line">
            <a:avLst/>
          </a:prstGeom>
          <a:ln w="38100" cap="flat">
            <a:solidFill>
              <a:srgbClr val="FFA500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10" name="AutoShape 10"/>
          <p:cNvSpPr/>
          <p:nvPr/>
        </p:nvSpPr>
        <p:spPr>
          <a:xfrm>
            <a:off x="9583608" y="4237061"/>
            <a:ext cx="2045956" cy="5975834"/>
          </a:xfrm>
          <a:prstGeom prst="line">
            <a:avLst/>
          </a:prstGeom>
          <a:ln w="38100" cap="flat">
            <a:solidFill>
              <a:srgbClr val="FFA500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11" name="AutoShape 11"/>
          <p:cNvSpPr/>
          <p:nvPr/>
        </p:nvSpPr>
        <p:spPr>
          <a:xfrm>
            <a:off x="11369033" y="3751286"/>
            <a:ext cx="6918967" cy="5760586"/>
          </a:xfrm>
          <a:prstGeom prst="line">
            <a:avLst/>
          </a:prstGeom>
          <a:ln w="38100" cap="flat">
            <a:solidFill>
              <a:srgbClr val="FFA500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12" name="Freeform 12"/>
          <p:cNvSpPr/>
          <p:nvPr/>
        </p:nvSpPr>
        <p:spPr>
          <a:xfrm flipH="1">
            <a:off x="8698766" y="1162530"/>
            <a:ext cx="3956524" cy="3956524"/>
          </a:xfrm>
          <a:custGeom>
            <a:avLst/>
            <a:gdLst/>
            <a:ahLst/>
            <a:cxnLst/>
            <a:rect l="l" t="t" r="r" b="b"/>
            <a:pathLst>
              <a:path w="3956524" h="3956524">
                <a:moveTo>
                  <a:pt x="3956525" y="0"/>
                </a:moveTo>
                <a:lnTo>
                  <a:pt x="0" y="0"/>
                </a:lnTo>
                <a:lnTo>
                  <a:pt x="0" y="3956525"/>
                </a:lnTo>
                <a:lnTo>
                  <a:pt x="3956525" y="3956525"/>
                </a:lnTo>
                <a:lnTo>
                  <a:pt x="3956525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</p:sp>
      <p:grpSp>
        <p:nvGrpSpPr>
          <p:cNvPr id="13" name="Group 13"/>
          <p:cNvGrpSpPr/>
          <p:nvPr/>
        </p:nvGrpSpPr>
        <p:grpSpPr>
          <a:xfrm>
            <a:off x="8990059" y="8471865"/>
            <a:ext cx="1389789" cy="1815135"/>
            <a:chOff x="0" y="0"/>
            <a:chExt cx="1037223" cy="1354667"/>
          </a:xfrm>
        </p:grpSpPr>
        <p:sp>
          <p:nvSpPr>
            <p:cNvPr id="14" name="Freeform 14"/>
            <p:cNvSpPr/>
            <p:nvPr/>
          </p:nvSpPr>
          <p:spPr>
            <a:xfrm>
              <a:off x="0" y="0"/>
              <a:ext cx="1037223" cy="1354667"/>
            </a:xfrm>
            <a:custGeom>
              <a:avLst/>
              <a:gdLst/>
              <a:ahLst/>
              <a:cxnLst/>
              <a:rect l="l" t="t" r="r" b="b"/>
              <a:pathLst>
                <a:path w="1037223" h="1354667">
                  <a:moveTo>
                    <a:pt x="203200" y="0"/>
                  </a:moveTo>
                  <a:lnTo>
                    <a:pt x="1037223" y="0"/>
                  </a:lnTo>
                  <a:lnTo>
                    <a:pt x="834023" y="1354667"/>
                  </a:lnTo>
                  <a:lnTo>
                    <a:pt x="0" y="1354667"/>
                  </a:lnTo>
                  <a:lnTo>
                    <a:pt x="203200" y="0"/>
                  </a:lnTo>
                  <a:close/>
                </a:path>
              </a:pathLst>
            </a:custGeom>
            <a:solidFill>
              <a:srgbClr val="FFA500"/>
            </a:solidFill>
          </p:spPr>
        </p:sp>
        <p:sp>
          <p:nvSpPr>
            <p:cNvPr id="15" name="TextBox 15"/>
            <p:cNvSpPr txBox="1"/>
            <p:nvPr/>
          </p:nvSpPr>
          <p:spPr>
            <a:xfrm>
              <a:off x="101600" y="9525"/>
              <a:ext cx="609600" cy="60007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79"/>
                </a:lnSpc>
              </a:pPr>
              <a:endParaRPr/>
            </a:p>
          </p:txBody>
        </p:sp>
      </p:grpSp>
      <p:grpSp>
        <p:nvGrpSpPr>
          <p:cNvPr id="16" name="Group 16"/>
          <p:cNvGrpSpPr/>
          <p:nvPr/>
        </p:nvGrpSpPr>
        <p:grpSpPr>
          <a:xfrm>
            <a:off x="9893424" y="8471865"/>
            <a:ext cx="972848" cy="1815135"/>
            <a:chOff x="0" y="0"/>
            <a:chExt cx="726053" cy="1354667"/>
          </a:xfrm>
        </p:grpSpPr>
        <p:sp>
          <p:nvSpPr>
            <p:cNvPr id="17" name="Freeform 17"/>
            <p:cNvSpPr/>
            <p:nvPr/>
          </p:nvSpPr>
          <p:spPr>
            <a:xfrm>
              <a:off x="0" y="0"/>
              <a:ext cx="726053" cy="1354667"/>
            </a:xfrm>
            <a:custGeom>
              <a:avLst/>
              <a:gdLst/>
              <a:ahLst/>
              <a:cxnLst/>
              <a:rect l="l" t="t" r="r" b="b"/>
              <a:pathLst>
                <a:path w="726053" h="1354667">
                  <a:moveTo>
                    <a:pt x="203200" y="0"/>
                  </a:moveTo>
                  <a:lnTo>
                    <a:pt x="726053" y="0"/>
                  </a:lnTo>
                  <a:lnTo>
                    <a:pt x="522853" y="1354667"/>
                  </a:lnTo>
                  <a:lnTo>
                    <a:pt x="0" y="1354667"/>
                  </a:lnTo>
                  <a:lnTo>
                    <a:pt x="203200" y="0"/>
                  </a:lnTo>
                  <a:close/>
                </a:path>
              </a:pathLst>
            </a:custGeom>
            <a:solidFill>
              <a:srgbClr val="FFA500">
                <a:alpha val="49804"/>
              </a:srgbClr>
            </a:solidFill>
          </p:spPr>
        </p:sp>
        <p:sp>
          <p:nvSpPr>
            <p:cNvPr id="18" name="TextBox 18"/>
            <p:cNvSpPr txBox="1"/>
            <p:nvPr/>
          </p:nvSpPr>
          <p:spPr>
            <a:xfrm>
              <a:off x="101600" y="9525"/>
              <a:ext cx="609600" cy="600075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879"/>
                </a:lnSpc>
              </a:pPr>
              <a:endParaRPr/>
            </a:p>
          </p:txBody>
        </p:sp>
      </p:grpSp>
      <p:sp>
        <p:nvSpPr>
          <p:cNvPr id="19" name="Freeform 19"/>
          <p:cNvSpPr/>
          <p:nvPr/>
        </p:nvSpPr>
        <p:spPr>
          <a:xfrm rot="2935702" flipH="1">
            <a:off x="9510084" y="3744203"/>
            <a:ext cx="7276949" cy="4746020"/>
          </a:xfrm>
          <a:custGeom>
            <a:avLst/>
            <a:gdLst/>
            <a:ahLst/>
            <a:cxnLst/>
            <a:rect l="l" t="t" r="r" b="b"/>
            <a:pathLst>
              <a:path w="7276949" h="4746020">
                <a:moveTo>
                  <a:pt x="7276949" y="0"/>
                </a:moveTo>
                <a:lnTo>
                  <a:pt x="0" y="0"/>
                </a:lnTo>
                <a:lnTo>
                  <a:pt x="0" y="4746020"/>
                </a:lnTo>
                <a:lnTo>
                  <a:pt x="7276949" y="4746020"/>
                </a:lnTo>
                <a:lnTo>
                  <a:pt x="7276949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t="-2346"/>
            </a:stretch>
          </a:blipFill>
        </p:spPr>
      </p:sp>
      <p:sp>
        <p:nvSpPr>
          <p:cNvPr id="20" name="Freeform 20"/>
          <p:cNvSpPr/>
          <p:nvPr/>
        </p:nvSpPr>
        <p:spPr>
          <a:xfrm>
            <a:off x="2394445" y="2341751"/>
            <a:ext cx="1018678" cy="1018678"/>
          </a:xfrm>
          <a:custGeom>
            <a:avLst/>
            <a:gdLst/>
            <a:ahLst/>
            <a:cxnLst/>
            <a:rect l="l" t="t" r="r" b="b"/>
            <a:pathLst>
              <a:path w="1018678" h="1018678">
                <a:moveTo>
                  <a:pt x="0" y="0"/>
                </a:moveTo>
                <a:lnTo>
                  <a:pt x="1018678" y="0"/>
                </a:lnTo>
                <a:lnTo>
                  <a:pt x="1018678" y="1018678"/>
                </a:lnTo>
                <a:lnTo>
                  <a:pt x="0" y="1018678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</p:sp>
      <p:sp>
        <p:nvSpPr>
          <p:cNvPr id="21" name="Freeform 21"/>
          <p:cNvSpPr/>
          <p:nvPr/>
        </p:nvSpPr>
        <p:spPr>
          <a:xfrm>
            <a:off x="4414707" y="3631886"/>
            <a:ext cx="3927612" cy="1511614"/>
          </a:xfrm>
          <a:custGeom>
            <a:avLst/>
            <a:gdLst/>
            <a:ahLst/>
            <a:cxnLst/>
            <a:rect l="l" t="t" r="r" b="b"/>
            <a:pathLst>
              <a:path w="3927612" h="1511614">
                <a:moveTo>
                  <a:pt x="0" y="0"/>
                </a:moveTo>
                <a:lnTo>
                  <a:pt x="3927612" y="0"/>
                </a:lnTo>
                <a:lnTo>
                  <a:pt x="3927612" y="1511614"/>
                </a:lnTo>
                <a:lnTo>
                  <a:pt x="0" y="1511614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</p:sp>
      <p:sp>
        <p:nvSpPr>
          <p:cNvPr id="22" name="AutoShape 22"/>
          <p:cNvSpPr/>
          <p:nvPr/>
        </p:nvSpPr>
        <p:spPr>
          <a:xfrm flipH="1" flipV="1">
            <a:off x="2903784" y="3360429"/>
            <a:ext cx="1510923" cy="1027264"/>
          </a:xfrm>
          <a:prstGeom prst="line">
            <a:avLst/>
          </a:prstGeom>
          <a:ln w="47625" cap="flat">
            <a:solidFill>
              <a:srgbClr val="FFFFFF"/>
            </a:solidFill>
            <a:prstDash val="solid"/>
            <a:headEnd type="none" w="sm" len="sm"/>
            <a:tailEnd type="arrow" w="med" len="sm"/>
          </a:ln>
        </p:spPr>
      </p:sp>
      <p:sp>
        <p:nvSpPr>
          <p:cNvPr id="23" name="Freeform 23"/>
          <p:cNvSpPr/>
          <p:nvPr/>
        </p:nvSpPr>
        <p:spPr>
          <a:xfrm>
            <a:off x="157993" y="4712616"/>
            <a:ext cx="1945896" cy="1945896"/>
          </a:xfrm>
          <a:custGeom>
            <a:avLst/>
            <a:gdLst/>
            <a:ahLst/>
            <a:cxnLst/>
            <a:rect l="l" t="t" r="r" b="b"/>
            <a:pathLst>
              <a:path w="1945896" h="1945896">
                <a:moveTo>
                  <a:pt x="0" y="0"/>
                </a:moveTo>
                <a:lnTo>
                  <a:pt x="1945897" y="0"/>
                </a:lnTo>
                <a:lnTo>
                  <a:pt x="1945897" y="1945897"/>
                </a:lnTo>
                <a:lnTo>
                  <a:pt x="0" y="1945897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</p:sp>
      <p:sp>
        <p:nvSpPr>
          <p:cNvPr id="24" name="AutoShape 24"/>
          <p:cNvSpPr/>
          <p:nvPr/>
        </p:nvSpPr>
        <p:spPr>
          <a:xfrm flipV="1">
            <a:off x="1130941" y="3360429"/>
            <a:ext cx="1772843" cy="1352188"/>
          </a:xfrm>
          <a:prstGeom prst="line">
            <a:avLst/>
          </a:prstGeom>
          <a:ln w="47625" cap="flat">
            <a:solidFill>
              <a:srgbClr val="FFFFFF"/>
            </a:solidFill>
            <a:prstDash val="solid"/>
            <a:headEnd type="arrow" w="med" len="sm"/>
            <a:tailEnd type="arrow" w="med" len="sm"/>
          </a:ln>
        </p:spPr>
      </p:sp>
      <p:sp>
        <p:nvSpPr>
          <p:cNvPr id="25" name="AutoShape 25"/>
          <p:cNvSpPr/>
          <p:nvPr/>
        </p:nvSpPr>
        <p:spPr>
          <a:xfrm flipH="1">
            <a:off x="8342319" y="3374207"/>
            <a:ext cx="2415755" cy="1013486"/>
          </a:xfrm>
          <a:prstGeom prst="line">
            <a:avLst/>
          </a:prstGeom>
          <a:ln w="47625" cap="flat">
            <a:solidFill>
              <a:srgbClr val="FFFFFF"/>
            </a:solidFill>
            <a:prstDash val="solid"/>
            <a:headEnd type="none" w="sm" len="sm"/>
            <a:tailEnd type="arrow" w="med" len="sm"/>
          </a:ln>
        </p:spPr>
      </p:sp>
      <p:sp>
        <p:nvSpPr>
          <p:cNvPr id="26" name="Freeform 26"/>
          <p:cNvSpPr/>
          <p:nvPr/>
        </p:nvSpPr>
        <p:spPr>
          <a:xfrm>
            <a:off x="2103890" y="4743545"/>
            <a:ext cx="1684048" cy="1684048"/>
          </a:xfrm>
          <a:custGeom>
            <a:avLst/>
            <a:gdLst/>
            <a:ahLst/>
            <a:cxnLst/>
            <a:rect l="l" t="t" r="r" b="b"/>
            <a:pathLst>
              <a:path w="1684048" h="1684048">
                <a:moveTo>
                  <a:pt x="0" y="0"/>
                </a:moveTo>
                <a:lnTo>
                  <a:pt x="1684047" y="0"/>
                </a:lnTo>
                <a:lnTo>
                  <a:pt x="1684047" y="1684048"/>
                </a:lnTo>
                <a:lnTo>
                  <a:pt x="0" y="1684048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/>
            </a:stretch>
          </a:blipFill>
        </p:spPr>
      </p:sp>
      <p:sp>
        <p:nvSpPr>
          <p:cNvPr id="27" name="AutoShape 27"/>
          <p:cNvSpPr/>
          <p:nvPr/>
        </p:nvSpPr>
        <p:spPr>
          <a:xfrm>
            <a:off x="2903784" y="3360429"/>
            <a:ext cx="42129" cy="1383116"/>
          </a:xfrm>
          <a:prstGeom prst="line">
            <a:avLst/>
          </a:prstGeom>
          <a:ln w="47625" cap="flat">
            <a:solidFill>
              <a:srgbClr val="FFFFFF"/>
            </a:solidFill>
            <a:prstDash val="solid"/>
            <a:headEnd type="none" w="sm" len="sm"/>
            <a:tailEnd type="arrow" w="med" len="sm"/>
          </a:ln>
        </p:spPr>
      </p:sp>
      <p:sp>
        <p:nvSpPr>
          <p:cNvPr id="28" name="Freeform 28"/>
          <p:cNvSpPr/>
          <p:nvPr/>
        </p:nvSpPr>
        <p:spPr>
          <a:xfrm>
            <a:off x="523111" y="8280615"/>
            <a:ext cx="1998758" cy="1938451"/>
          </a:xfrm>
          <a:custGeom>
            <a:avLst/>
            <a:gdLst/>
            <a:ahLst/>
            <a:cxnLst/>
            <a:rect l="l" t="t" r="r" b="b"/>
            <a:pathLst>
              <a:path w="1998758" h="1938451">
                <a:moveTo>
                  <a:pt x="0" y="0"/>
                </a:moveTo>
                <a:lnTo>
                  <a:pt x="1998758" y="0"/>
                </a:lnTo>
                <a:lnTo>
                  <a:pt x="1998758" y="1938450"/>
                </a:lnTo>
                <a:lnTo>
                  <a:pt x="0" y="1938450"/>
                </a:lnTo>
                <a:lnTo>
                  <a:pt x="0" y="0"/>
                </a:lnTo>
                <a:close/>
              </a:path>
            </a:pathLst>
          </a:custGeom>
          <a:blipFill>
            <a:blip r:embed="rId9"/>
            <a:stretch>
              <a:fillRect l="-194008" t="-12710" r="-14260" b="-6486"/>
            </a:stretch>
          </a:blipFill>
        </p:spPr>
      </p:sp>
      <p:sp>
        <p:nvSpPr>
          <p:cNvPr id="29" name="Freeform 29"/>
          <p:cNvSpPr/>
          <p:nvPr/>
        </p:nvSpPr>
        <p:spPr>
          <a:xfrm>
            <a:off x="13249755" y="5261856"/>
            <a:ext cx="5038245" cy="5012381"/>
          </a:xfrm>
          <a:custGeom>
            <a:avLst/>
            <a:gdLst/>
            <a:ahLst/>
            <a:cxnLst/>
            <a:rect l="l" t="t" r="r" b="b"/>
            <a:pathLst>
              <a:path w="5050434" h="5157434">
                <a:moveTo>
                  <a:pt x="0" y="0"/>
                </a:moveTo>
                <a:lnTo>
                  <a:pt x="5050434" y="0"/>
                </a:lnTo>
                <a:lnTo>
                  <a:pt x="5050434" y="5157434"/>
                </a:lnTo>
                <a:lnTo>
                  <a:pt x="0" y="5157434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0" name="TextBox 30"/>
          <p:cNvSpPr txBox="1"/>
          <p:nvPr/>
        </p:nvSpPr>
        <p:spPr>
          <a:xfrm>
            <a:off x="3584810" y="2303651"/>
            <a:ext cx="4942269" cy="109918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l">
              <a:lnSpc>
                <a:spcPts val="2940"/>
              </a:lnSpc>
              <a:spcBef>
                <a:spcPct val="0"/>
              </a:spcBef>
            </a:pPr>
            <a:r>
              <a:rPr lang="en-US" sz="2100">
                <a:solidFill>
                  <a:srgbClr val="FFFFFF">
                    <a:alpha val="80000"/>
                  </a:srgbClr>
                </a:solidFill>
                <a:latin typeface="Cerebri"/>
              </a:rPr>
              <a:t>When an event happens, a frame is taken from the streaming using a FFMPEG command in Node-RED.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498580" y="6798945"/>
            <a:ext cx="4942269" cy="72771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l">
              <a:lnSpc>
                <a:spcPts val="2940"/>
              </a:lnSpc>
              <a:spcBef>
                <a:spcPct val="0"/>
              </a:spcBef>
            </a:pPr>
            <a:r>
              <a:rPr lang="en-US" sz="2100">
                <a:solidFill>
                  <a:srgbClr val="FFFFFF">
                    <a:alpha val="80000"/>
                  </a:srgbClr>
                </a:solidFill>
                <a:latin typeface="Cerebri"/>
              </a:rPr>
              <a:t>The image is then analyze by the Custom Vison service from Microsoft Azure.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4047790" y="5080955"/>
            <a:ext cx="4942269" cy="109918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l">
              <a:lnSpc>
                <a:spcPts val="2940"/>
              </a:lnSpc>
              <a:spcBef>
                <a:spcPct val="0"/>
              </a:spcBef>
            </a:pPr>
            <a:r>
              <a:rPr lang="en-US" sz="2100">
                <a:solidFill>
                  <a:srgbClr val="FFFFFF">
                    <a:alpha val="80000"/>
                  </a:srgbClr>
                </a:solidFill>
                <a:latin typeface="Cerebri"/>
              </a:rPr>
              <a:t>The analysis results and the robot’s coordinates are stored in an Oracle database.</a:t>
            </a:r>
          </a:p>
        </p:txBody>
      </p:sp>
      <p:sp>
        <p:nvSpPr>
          <p:cNvPr id="33" name="TextBox 33"/>
          <p:cNvSpPr txBox="1"/>
          <p:nvPr/>
        </p:nvSpPr>
        <p:spPr>
          <a:xfrm>
            <a:off x="260747" y="336221"/>
            <a:ext cx="7440385" cy="16859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439"/>
              </a:lnSpc>
            </a:pPr>
            <a:r>
              <a:rPr lang="en-US" sz="3699">
                <a:solidFill>
                  <a:srgbClr val="FFA500"/>
                </a:solidFill>
                <a:latin typeface="Cerebri Heavy Italics"/>
              </a:rPr>
              <a:t>SMART MOBILITY:</a:t>
            </a:r>
          </a:p>
          <a:p>
            <a:pPr>
              <a:lnSpc>
                <a:spcPts val="4439"/>
              </a:lnSpc>
            </a:pPr>
            <a:r>
              <a:rPr lang="en-US" sz="3699">
                <a:solidFill>
                  <a:srgbClr val="FFFFFF"/>
                </a:solidFill>
                <a:latin typeface="Cerebri Heavy Italics"/>
              </a:rPr>
              <a:t>AUTOMATED GUIDED VEHICLE TRAFFIC ANALYSIS</a:t>
            </a:r>
          </a:p>
        </p:txBody>
      </p:sp>
      <p:sp>
        <p:nvSpPr>
          <p:cNvPr id="34" name="TextBox 34"/>
          <p:cNvSpPr txBox="1"/>
          <p:nvPr/>
        </p:nvSpPr>
        <p:spPr>
          <a:xfrm>
            <a:off x="2521869" y="8651722"/>
            <a:ext cx="4942269" cy="72771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l">
              <a:lnSpc>
                <a:spcPts val="2940"/>
              </a:lnSpc>
              <a:spcBef>
                <a:spcPct val="0"/>
              </a:spcBef>
            </a:pPr>
            <a:r>
              <a:rPr lang="en-US" sz="2100">
                <a:solidFill>
                  <a:srgbClr val="FFFFFF">
                    <a:alpha val="80000"/>
                  </a:srgbClr>
                </a:solidFill>
                <a:latin typeface="Cerebri"/>
              </a:rPr>
              <a:t>The updated reports are displayed in the Node-RED interface.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PwwAAAAAAAAAAAAAIAD///////////////8AAAD////////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/eSlJwCALZEneYv4mJ4WB8FAAAAAAADAAAAAwADAAAAAQADAAIA////////BAAAAAMAEAALlP+jP5oEAkyKTOpoyELDPQUAAAABAAMAAAAAAAMAAAAC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PeSlJwCALZEneYv4mJ4WB8DRGF0YQAbAAAABExpbmtlZFNoYXBlRGF0YQAFAAAAAAACTmFtZQAZAAAATGlua2VkU2hhcGVzRGF0YVByb3BlcnR5ABBWZXJzaW9uAAAAAAAJTGFzdFdyaXRlAKBTWayKAQAAAAEA/////50AnQAAAAVfaWQAEAAAAASU/6M/mgQCTIpM6mjIQsM9A0RhdGEAKgAAAAhQcmVzZW50YXRpb25TY2FubmVkRm9yTGlua2VkU2hhcGVzAAEAAk5hbWUAJAAAAExpbmtlZFNoYXBlUHJlc2VudGF0aW9uU2V0dGluZ3NEYXRhABBWZXJzaW9uAAAAAAAJTGFzdFdyaXRlAM9TWayK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Metadata/LabelInfo.xml><?xml version="1.0" encoding="utf-8"?>
<clbl:labelList xmlns:clbl="http://schemas.microsoft.com/office/2020/mipLabelMetadata">
  <clbl:label id="{6006a9c5-d130-408c-bc8e-3b5ecdb17aa0}" enabled="1" method="Standard" siteId="{8d4b558f-7b2e-40ba-ad1f-e04d79e6265a}" contentBits="2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4</Words>
  <Application>Microsoft Office PowerPoint</Application>
  <PresentationFormat>Custom</PresentationFormat>
  <Paragraphs>10</Paragraphs>
  <Slides>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erebri Heavy Italics</vt:lpstr>
      <vt:lpstr>Cerebri</vt:lpstr>
      <vt:lpstr>Calibri</vt:lpstr>
      <vt:lpstr>Office Them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Mobility: Automated Guided Vehicle Traffic Analysis</dc:title>
  <dc:creator>Balteanu, Andreea-Iuliana</dc:creator>
  <cp:lastModifiedBy>Balteanu, Andreea-Iuliana</cp:lastModifiedBy>
  <cp:revision>2</cp:revision>
  <dcterms:created xsi:type="dcterms:W3CDTF">2006-08-16T00:00:00Z</dcterms:created>
  <dcterms:modified xsi:type="dcterms:W3CDTF">2023-09-19T07:37:22Z</dcterms:modified>
  <dc:identifier>DAFufx1c8nc</dc:identifier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Office Theme:8</vt:lpwstr>
  </property>
  <property fmtid="{D5CDD505-2E9C-101B-9397-08002B2CF9AE}" pid="3" name="ClassificationContentMarkingFooterText">
    <vt:lpwstr>Internal</vt:lpwstr>
  </property>
</Properties>
</file>